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62"/>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7" r:id="rId31"/>
    <p:sldId id="383" r:id="rId32"/>
    <p:sldId id="384" r:id="rId33"/>
    <p:sldId id="385" r:id="rId34"/>
    <p:sldId id="386" r:id="rId35"/>
    <p:sldId id="401" r:id="rId36"/>
    <p:sldId id="396" r:id="rId37"/>
    <p:sldId id="357" r:id="rId38"/>
    <p:sldId id="390" r:id="rId39"/>
    <p:sldId id="361" r:id="rId40"/>
    <p:sldId id="362" r:id="rId41"/>
    <p:sldId id="367" r:id="rId42"/>
    <p:sldId id="368" r:id="rId43"/>
    <p:sldId id="369" r:id="rId44"/>
    <p:sldId id="370" r:id="rId45"/>
    <p:sldId id="391" r:id="rId46"/>
    <p:sldId id="371" r:id="rId47"/>
    <p:sldId id="339" r:id="rId48"/>
    <p:sldId id="395" r:id="rId49"/>
    <p:sldId id="403" r:id="rId50"/>
    <p:sldId id="382" r:id="rId51"/>
    <p:sldId id="338" r:id="rId52"/>
    <p:sldId id="372" r:id="rId53"/>
    <p:sldId id="373" r:id="rId54"/>
    <p:sldId id="381" r:id="rId55"/>
    <p:sldId id="375" r:id="rId56"/>
    <p:sldId id="376" r:id="rId57"/>
    <p:sldId id="377" r:id="rId58"/>
    <p:sldId id="378" r:id="rId59"/>
    <p:sldId id="379" r:id="rId60"/>
    <p:sldId id="380" r:id="rId61"/>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ableStyles" Target="tableStyle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5/17/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9</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4</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7</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3</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4</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5</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6</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0</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51</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52</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6</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9</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9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5/17/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5/17/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17.05.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5/17/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72"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5/17/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7" Type="http://schemas.openxmlformats.org/officeDocument/2006/relationships/image" Target="../media/image40.gif"/><Relationship Id="rId2" Type="http://schemas.openxmlformats.org/officeDocument/2006/relationships/notesSlide" Target="../notesSlides/notesSlide20.xml"/><Relationship Id="rId16" Type="http://schemas.openxmlformats.org/officeDocument/2006/relationships/image" Target="../media/image49.png"/><Relationship Id="rId29" Type="http://schemas.openxmlformats.org/officeDocument/2006/relationships/image" Target="../media/image62.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image" Target="../media/image41.png"/><Relationship Id="rId3" Type="http://schemas.openxmlformats.org/officeDocument/2006/relationships/image" Target="../media/image36.jp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jp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39.gif"/></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53.xml"/><Relationship Id="rId4" Type="http://schemas.openxmlformats.org/officeDocument/2006/relationships/image" Target="../media/image83.png"/></Relationships>
</file>

<file path=ppt/slides/_rels/slide3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53.xml"/><Relationship Id="rId5" Type="http://schemas.openxmlformats.org/officeDocument/2006/relationships/image" Target="../media/image88.png"/><Relationship Id="rId4" Type="http://schemas.openxmlformats.org/officeDocument/2006/relationships/image" Target="../media/image87.png"/></Relationships>
</file>

<file path=ppt/slides/_rels/slide3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2.png"/></Relationships>
</file>

<file path=ppt/slides/_rels/slide46.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3.png"/><Relationship Id="rId7" Type="http://schemas.openxmlformats.org/officeDocument/2006/relationships/image" Target="../media/image95.png"/><Relationship Id="rId2" Type="http://schemas.openxmlformats.org/officeDocument/2006/relationships/notesSlide" Target="../notesSlides/notesSlide26.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4.png"/><Relationship Id="rId4" Type="http://schemas.openxmlformats.org/officeDocument/2006/relationships/hyperlink" Target="http://cds-hooks.org/"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9.xml"/><Relationship Id="rId1" Type="http://schemas.openxmlformats.org/officeDocument/2006/relationships/slideLayout" Target="../slideLayouts/slideLayout55.xml"/><Relationship Id="rId5" Type="http://schemas.openxmlformats.org/officeDocument/2006/relationships/image" Target="../media/image99.png"/><Relationship Id="rId4" Type="http://schemas.openxmlformats.org/officeDocument/2006/relationships/image" Target="../media/image98.png"/></Relationships>
</file>

<file path=ppt/slides/_rels/slide53.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0.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2.png"/></Relationships>
</file>

<file path=ppt/slides/_rels/slide54.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image" Target="../media/image103.tiff"/><Relationship Id="rId1" Type="http://schemas.openxmlformats.org/officeDocument/2006/relationships/slideLayout" Target="../slideLayouts/slideLayout18.xml"/><Relationship Id="rId4" Type="http://schemas.openxmlformats.org/officeDocument/2006/relationships/image" Target="../media/image105.emf"/></Relationships>
</file>

<file path=ppt/slides/_rels/slide5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0.xml"/><Relationship Id="rId1" Type="http://schemas.openxmlformats.org/officeDocument/2006/relationships/slideLayout" Target="../slideLayouts/slideLayout56.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5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eg"/><Relationship Id="rId1" Type="http://schemas.openxmlformats.org/officeDocument/2006/relationships/slideLayout" Target="../slideLayouts/slideLayout12.xml"/><Relationship Id="rId6" Type="http://schemas.openxmlformats.org/officeDocument/2006/relationships/image" Target="../media/image115.jpeg"/><Relationship Id="rId5" Type="http://schemas.openxmlformats.org/officeDocument/2006/relationships/image" Target="../media/image114.emf"/><Relationship Id="rId4" Type="http://schemas.openxmlformats.org/officeDocument/2006/relationships/image" Target="../media/image113.PNG"/></Relationships>
</file>

<file path=ppt/slides/_rels/slide5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May 17,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a:t>
            </a:r>
            <a:r>
              <a:rPr lang="en-US" sz="2800" dirty="0" err="1"/>
              <a:t>latencty</a:t>
            </a:r>
            <a:r>
              <a:rPr lang="en-US" sz="2800" dirty="0"/>
              <a:t>)</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3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fhir.example.com"</a:t>
            </a:r>
            <a:r>
              <a:rPr lang="en-US" sz="2800" b="1" dirty="0">
                <a:latin typeface="Courier New"/>
                <a:cs typeface="Courier New"/>
              </a:rPr>
              <a:t>,</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20</TotalTime>
  <Words>2922</Words>
  <Application>Microsoft Macintosh PowerPoint</Application>
  <PresentationFormat>Widescreen</PresentationFormat>
  <Paragraphs>569</Paragraphs>
  <Slides>59</Slides>
  <Notes>3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74" baseType="lpstr">
      <vt:lpstr>MS PGothic</vt:lpstr>
      <vt:lpstr>MS PGothic</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83</cp:revision>
  <cp:lastPrinted>2016-11-14T17:42:56Z</cp:lastPrinted>
  <dcterms:created xsi:type="dcterms:W3CDTF">2016-10-20T03:15:38Z</dcterms:created>
  <dcterms:modified xsi:type="dcterms:W3CDTF">2018-05-17T08:42:20Z</dcterms:modified>
</cp:coreProperties>
</file>